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147374815" r:id="rId2"/>
    <p:sldId id="2147374874" r:id="rId3"/>
    <p:sldId id="2147374868" r:id="rId4"/>
    <p:sldId id="2147374884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2" d="100"/>
          <a:sy n="62" d="100"/>
        </p:scale>
        <p:origin x="82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474639-58D0-4EB0-93BF-CFC721764C38}" type="datetimeFigureOut">
              <a:rPr lang="en-ZA" smtClean="0"/>
              <a:t>2022/07/28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0EEDC-3CEA-4317-A23C-773BF52FD03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020743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4475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6322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21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title no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</p:spPr>
        <p:txBody>
          <a:bodyPr numCol="1"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 altLang="en-GB"/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0" y="3712109"/>
            <a:ext cx="4689452" cy="415781"/>
          </a:xfrm>
          <a:prstGeom prst="rect">
            <a:avLst/>
          </a:prstGeom>
        </p:spPr>
        <p:txBody>
          <a:bodyPr numCol="1" anchor="t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38606049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rch 20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447452"/>
            <a:ext cx="10252054" cy="268816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</a:p>
          <a:p>
            <a:pPr lvl="0"/>
            <a:endParaRPr lang="en-GB" altLang="en-GB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4EE004D-1AF6-41A3-BF99-D3478A36E5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699" y="1045744"/>
            <a:ext cx="10250868" cy="360000"/>
          </a:xfrm>
          <a:prstGeom prst="rect">
            <a:avLst/>
          </a:prstGeom>
        </p:spPr>
        <p:txBody>
          <a:bodyPr vert="horz" lIns="0" tIns="0" rIns="0" bIns="0" numCol="1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alt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 alt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DF096E9-BE84-4A01-9215-548EB123A1B2}"/>
              </a:ext>
            </a:extLst>
          </p:cNvPr>
          <p:cNvGrpSpPr/>
          <p:nvPr userDrawn="1"/>
        </p:nvGrpSpPr>
        <p:grpSpPr>
          <a:xfrm>
            <a:off x="0" y="1"/>
            <a:ext cx="12192000" cy="1545071"/>
            <a:chOff x="0" y="1"/>
            <a:chExt cx="12192000" cy="1545071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F75B60A-3FD8-433F-B673-8E39468D824E}"/>
                </a:ext>
              </a:extLst>
            </p:cNvPr>
            <p:cNvSpPr/>
            <p:nvPr userDrawn="1"/>
          </p:nvSpPr>
          <p:spPr>
            <a:xfrm>
              <a:off x="0" y="1"/>
              <a:ext cx="12192000" cy="1093463"/>
            </a:xfrm>
            <a:custGeom>
              <a:avLst/>
              <a:gdLst>
                <a:gd name="connsiteX0" fmla="*/ 0 w 12192000"/>
                <a:gd name="connsiteY0" fmla="*/ 0 h 1093463"/>
                <a:gd name="connsiteX1" fmla="*/ 12192000 w 12192000"/>
                <a:gd name="connsiteY1" fmla="*/ 0 h 1093463"/>
                <a:gd name="connsiteX2" fmla="*/ 12192000 w 12192000"/>
                <a:gd name="connsiteY2" fmla="*/ 1093463 h 1093463"/>
                <a:gd name="connsiteX3" fmla="*/ 11945698 w 12192000"/>
                <a:gd name="connsiteY3" fmla="*/ 1045640 h 1093463"/>
                <a:gd name="connsiteX4" fmla="*/ 6096000 w 12192000"/>
                <a:gd name="connsiteY4" fmla="*/ 545464 h 1093463"/>
                <a:gd name="connsiteX5" fmla="*/ 246302 w 12192000"/>
                <a:gd name="connsiteY5" fmla="*/ 1045640 h 1093463"/>
                <a:gd name="connsiteX6" fmla="*/ 0 w 12192000"/>
                <a:gd name="connsiteY6" fmla="*/ 1093463 h 109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093463">
                  <a:moveTo>
                    <a:pt x="0" y="0"/>
                  </a:moveTo>
                  <a:lnTo>
                    <a:pt x="12192000" y="0"/>
                  </a:lnTo>
                  <a:lnTo>
                    <a:pt x="12192000" y="1093463"/>
                  </a:lnTo>
                  <a:lnTo>
                    <a:pt x="11945698" y="1045640"/>
                  </a:lnTo>
                  <a:cubicBezTo>
                    <a:pt x="10206798" y="726655"/>
                    <a:pt x="8214061" y="545464"/>
                    <a:pt x="6096000" y="545464"/>
                  </a:cubicBezTo>
                  <a:cubicBezTo>
                    <a:pt x="3977940" y="545464"/>
                    <a:pt x="1985202" y="726655"/>
                    <a:pt x="246302" y="1045640"/>
                  </a:cubicBezTo>
                  <a:lnTo>
                    <a:pt x="0" y="109346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en-GB" altLang="en-GB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8D91074-7CA5-412D-B392-79970843071F}"/>
                </a:ext>
              </a:extLst>
            </p:cNvPr>
            <p:cNvGrpSpPr/>
            <p:nvPr userDrawn="1"/>
          </p:nvGrpSpPr>
          <p:grpSpPr>
            <a:xfrm>
              <a:off x="10648109" y="393700"/>
              <a:ext cx="1150191" cy="1151372"/>
              <a:chOff x="10648109" y="5310073"/>
              <a:chExt cx="1150191" cy="1151372"/>
            </a:xfrm>
          </p:grpSpPr>
          <p:sp>
            <p:nvSpPr>
              <p:cNvPr id="12" name="Rectangle 20">
                <a:extLst>
                  <a:ext uri="{FF2B5EF4-FFF2-40B4-BE49-F238E27FC236}">
                    <a16:creationId xmlns:a16="http://schemas.microsoft.com/office/drawing/2014/main" id="{55A50798-BA63-4054-97C6-E78D398F12B8}"/>
                  </a:ext>
                </a:extLst>
              </p:cNvPr>
              <p:cNvSpPr>
                <a:spLocks noChangeArrowheads="1"/>
              </p:cNvSpPr>
              <p:nvPr userDrawn="1"/>
            </p:nvSpPr>
            <p:spPr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3" name="Rectangle 21">
                <a:extLst>
                  <a:ext uri="{FF2B5EF4-FFF2-40B4-BE49-F238E27FC236}">
                    <a16:creationId xmlns:a16="http://schemas.microsoft.com/office/drawing/2014/main" id="{0C6F2B01-29ED-4CE4-899F-DCC088A6D1E8}"/>
                  </a:ext>
                </a:extLst>
              </p:cNvPr>
              <p:cNvSpPr>
                <a:spLocks noChangeArrowheads="1"/>
              </p:cNvSpPr>
              <p:nvPr userDrawn="1"/>
            </p:nvSpPr>
            <p:spPr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4" name="Oval 22">
                <a:extLst>
                  <a:ext uri="{FF2B5EF4-FFF2-40B4-BE49-F238E27FC236}">
                    <a16:creationId xmlns:a16="http://schemas.microsoft.com/office/drawing/2014/main" id="{F763AC27-B5E4-468D-8F3E-FCE3B099F87F}"/>
                  </a:ext>
                </a:extLst>
              </p:cNvPr>
              <p:cNvSpPr>
                <a:spLocks noChangeArrowheads="1"/>
              </p:cNvSpPr>
              <p:nvPr userDrawn="1"/>
            </p:nvSpPr>
            <p:spPr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5" name="Freeform 23">
                <a:extLst>
                  <a:ext uri="{FF2B5EF4-FFF2-40B4-BE49-F238E27FC236}">
                    <a16:creationId xmlns:a16="http://schemas.microsoft.com/office/drawing/2014/main" id="{54DB9D8A-E0DD-4E8E-837F-77B574F62A95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6" name="Freeform 24">
                <a:extLst>
                  <a:ext uri="{FF2B5EF4-FFF2-40B4-BE49-F238E27FC236}">
                    <a16:creationId xmlns:a16="http://schemas.microsoft.com/office/drawing/2014/main" id="{8F9267D3-6CF4-4003-98E0-1DF062FCC29D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7" name="Freeform 25">
                <a:extLst>
                  <a:ext uri="{FF2B5EF4-FFF2-40B4-BE49-F238E27FC236}">
                    <a16:creationId xmlns:a16="http://schemas.microsoft.com/office/drawing/2014/main" id="{FC34D197-C04B-4FC2-8FC0-3D74CBBB9FBE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8" name="Freeform 26">
                <a:extLst>
                  <a:ext uri="{FF2B5EF4-FFF2-40B4-BE49-F238E27FC236}">
                    <a16:creationId xmlns:a16="http://schemas.microsoft.com/office/drawing/2014/main" id="{88F51C54-07D2-4CDD-9DE3-40BF4DD0088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</p:grpSp>
      </p:grpSp>
      <p:sp>
        <p:nvSpPr>
          <p:cNvPr id="1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19862" y="6527260"/>
            <a:ext cx="8825367" cy="330740"/>
          </a:xfrm>
        </p:spPr>
        <p:txBody>
          <a:bodyPr/>
          <a:lstStyle>
            <a:lvl1pPr marL="0" indent="0">
              <a:buNone/>
              <a:defRPr sz="800"/>
            </a:lvl1pPr>
            <a:lvl2pPr marL="244475" indent="0">
              <a:buNone/>
              <a:defRPr/>
            </a:lvl2pPr>
            <a:lvl3pPr marL="352425" indent="0">
              <a:buNone/>
              <a:defRPr/>
            </a:lvl3pPr>
            <a:lvl4pPr marL="515937" indent="0">
              <a:buNone/>
              <a:defRPr/>
            </a:lvl4pPr>
            <a:lvl5pPr marL="663575" indent="0">
              <a:buNone/>
              <a:defRPr/>
            </a:lvl5pPr>
          </a:lstStyle>
          <a:p>
            <a:pPr lvl="0"/>
            <a:r>
              <a:rPr lang="en-US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47300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1389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oval and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AC20015-A3E2-42BA-A5BB-0A2E547D92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90215" y="2412181"/>
            <a:ext cx="2972985" cy="111033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1431571D-5602-4636-A5BD-A95D99B78E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90968" y="3531572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7AA0A9CA-9508-4B06-B663-4C8E7C93CA0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" y="677021"/>
            <a:ext cx="6668655" cy="5490104"/>
          </a:xfrm>
          <a:custGeom>
            <a:avLst/>
            <a:gdLst>
              <a:gd name="connsiteX0" fmla="*/ 0 w 6668655"/>
              <a:gd name="connsiteY0" fmla="*/ 0 h 5490104"/>
              <a:gd name="connsiteX1" fmla="*/ 560043 w 6668655"/>
              <a:gd name="connsiteY1" fmla="*/ 11421 h 5490104"/>
              <a:gd name="connsiteX2" fmla="*/ 6668655 w 6668655"/>
              <a:gd name="connsiteY2" fmla="*/ 2745052 h 5490104"/>
              <a:gd name="connsiteX3" fmla="*/ 560043 w 6668655"/>
              <a:gd name="connsiteY3" fmla="*/ 5478684 h 5490104"/>
              <a:gd name="connsiteX4" fmla="*/ 0 w 6668655"/>
              <a:gd name="connsiteY4" fmla="*/ 5490104 h 549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68655" h="5490104">
                <a:moveTo>
                  <a:pt x="0" y="0"/>
                </a:moveTo>
                <a:lnTo>
                  <a:pt x="560043" y="11421"/>
                </a:lnTo>
                <a:cubicBezTo>
                  <a:pt x="3991160" y="152137"/>
                  <a:pt x="6668655" y="1322323"/>
                  <a:pt x="6668655" y="2745052"/>
                </a:cubicBezTo>
                <a:cubicBezTo>
                  <a:pt x="6668655" y="4167782"/>
                  <a:pt x="3991160" y="5337968"/>
                  <a:pt x="560043" y="5478684"/>
                </a:cubicBezTo>
                <a:lnTo>
                  <a:pt x="0" y="549010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8103117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/>
          <p:cNvSpPr>
            <a:spLocks noGrp="1"/>
          </p:cNvSpPr>
          <p:nvPr>
            <p:ph sz="quarter" idx="15" hasCustomPrompt="1"/>
          </p:nvPr>
        </p:nvSpPr>
        <p:spPr>
          <a:xfrm>
            <a:off x="511907" y="1484314"/>
            <a:ext cx="11168183" cy="48244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here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 level</a:t>
            </a:r>
          </a:p>
          <a:p>
            <a:pPr lvl="6"/>
            <a:r>
              <a:rPr lang="en-GB" noProof="0"/>
              <a:t>Seventh</a:t>
            </a:r>
            <a:r>
              <a:rPr lang="en-GB"/>
              <a:t> level</a:t>
            </a:r>
          </a:p>
          <a:p>
            <a:pPr lvl="7"/>
            <a:r>
              <a:rPr lang="en-GB"/>
              <a:t>Eight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09" y="728664"/>
            <a:ext cx="11168916" cy="430888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005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2000" b="0" kern="1200" dirty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100508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/>
              <a:t>Click here to enter slide messag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15998" y="220457"/>
            <a:ext cx="1116000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8057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 yellow oval with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1DF4E762-8EE1-4ABB-BA5B-2057AAB0CB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648109 w 12192000"/>
              <a:gd name="connsiteY0" fmla="*/ 5310073 h 6858000"/>
              <a:gd name="connsiteX1" fmla="*/ 10648109 w 12192000"/>
              <a:gd name="connsiteY1" fmla="*/ 6461445 h 6858000"/>
              <a:gd name="connsiteX2" fmla="*/ 11798300 w 12192000"/>
              <a:gd name="connsiteY2" fmla="*/ 6461445 h 6858000"/>
              <a:gd name="connsiteX3" fmla="*/ 11798300 w 12192000"/>
              <a:gd name="connsiteY3" fmla="*/ 5310073 h 6858000"/>
              <a:gd name="connsiteX4" fmla="*/ 1 w 12192000"/>
              <a:gd name="connsiteY4" fmla="*/ 677021 h 6858000"/>
              <a:gd name="connsiteX5" fmla="*/ 1 w 12192000"/>
              <a:gd name="connsiteY5" fmla="*/ 6167125 h 6858000"/>
              <a:gd name="connsiteX6" fmla="*/ 560044 w 12192000"/>
              <a:gd name="connsiteY6" fmla="*/ 6155705 h 6858000"/>
              <a:gd name="connsiteX7" fmla="*/ 6668656 w 12192000"/>
              <a:gd name="connsiteY7" fmla="*/ 3422073 h 6858000"/>
              <a:gd name="connsiteX8" fmla="*/ 560044 w 12192000"/>
              <a:gd name="connsiteY8" fmla="*/ 688442 h 6858000"/>
              <a:gd name="connsiteX9" fmla="*/ 0 w 12192000"/>
              <a:gd name="connsiteY9" fmla="*/ 0 h 6858000"/>
              <a:gd name="connsiteX10" fmla="*/ 12192000 w 12192000"/>
              <a:gd name="connsiteY10" fmla="*/ 0 h 6858000"/>
              <a:gd name="connsiteX11" fmla="*/ 12192000 w 12192000"/>
              <a:gd name="connsiteY11" fmla="*/ 6858000 h 6858000"/>
              <a:gd name="connsiteX12" fmla="*/ 0 w 12192000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10648109" y="5310073"/>
                </a:moveTo>
                <a:lnTo>
                  <a:pt x="10648109" y="6461445"/>
                </a:lnTo>
                <a:lnTo>
                  <a:pt x="11798300" y="6461445"/>
                </a:lnTo>
                <a:lnTo>
                  <a:pt x="11798300" y="5310073"/>
                </a:lnTo>
                <a:close/>
                <a:moveTo>
                  <a:pt x="1" y="677021"/>
                </a:moveTo>
                <a:lnTo>
                  <a:pt x="1" y="6167125"/>
                </a:lnTo>
                <a:lnTo>
                  <a:pt x="560044" y="6155705"/>
                </a:lnTo>
                <a:cubicBezTo>
                  <a:pt x="3991161" y="6014989"/>
                  <a:pt x="6668656" y="4844803"/>
                  <a:pt x="6668656" y="3422073"/>
                </a:cubicBezTo>
                <a:cubicBezTo>
                  <a:pt x="6668656" y="1999344"/>
                  <a:pt x="3991161" y="829158"/>
                  <a:pt x="560044" y="688442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</p:spPr>
        <p:txBody>
          <a:bodyPr wrap="square" numCol="1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altLang="en-GB"/>
              <a:t>Add pictu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920181"/>
            <a:ext cx="5133322" cy="1110338"/>
          </a:xfrm>
          <a:prstGeom prst="rect">
            <a:avLst/>
          </a:prstGeom>
        </p:spPr>
        <p:txBody>
          <a:bodyPr vert="horz" lIns="0" tIns="0" rIns="0" bIns="0" numCol="1" rtlCol="0" anchor="ctr">
            <a:noAutofit/>
          </a:bodyPr>
          <a:lstStyle>
            <a:lvl1pPr>
              <a:defRPr lang="en-GB" altLang="en-GB" sz="4400" dirty="0"/>
            </a:lvl1pPr>
          </a:lstStyle>
          <a:p>
            <a:pPr marL="0" lvl="0">
              <a:spcBef>
                <a:spcPts val="0"/>
              </a:spcBef>
            </a:pPr>
            <a:r>
              <a:rPr lang="en-US"/>
              <a:t>Thank you</a:t>
            </a:r>
            <a:endParaRPr lang="en-GB" altLang="en-GB"/>
          </a:p>
        </p:txBody>
      </p:sp>
      <p:pic>
        <p:nvPicPr>
          <p:cNvPr id="46" name="Picture 9">
            <a:extLst>
              <a:ext uri="{FF2B5EF4-FFF2-40B4-BE49-F238E27FC236}">
                <a16:creationId xmlns:a16="http://schemas.microsoft.com/office/drawing/2014/main" id="{32C78D78-C8D8-49FE-9085-E133C1E55B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33" y="5616351"/>
            <a:ext cx="1113850" cy="560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02155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: Title, sub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447452"/>
            <a:ext cx="10252054" cy="268816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</a:p>
          <a:p>
            <a:pPr lvl="0"/>
            <a:endParaRPr lang="en-GB" altLang="en-GB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4EE004D-1AF6-41A3-BF99-D3478A36E5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699" y="1045744"/>
            <a:ext cx="10250868" cy="360000"/>
          </a:xfrm>
          <a:prstGeom prst="rect">
            <a:avLst/>
          </a:prstGeom>
        </p:spPr>
        <p:txBody>
          <a:bodyPr vert="horz" lIns="0" tIns="0" rIns="0" bIns="0" numCol="1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alt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 alt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DF096E9-BE84-4A01-9215-548EB123A1B2}"/>
              </a:ext>
            </a:extLst>
          </p:cNvPr>
          <p:cNvGrpSpPr/>
          <p:nvPr userDrawn="1"/>
        </p:nvGrpSpPr>
        <p:grpSpPr>
          <a:xfrm>
            <a:off x="0" y="1"/>
            <a:ext cx="12192000" cy="1545071"/>
            <a:chOff x="0" y="1"/>
            <a:chExt cx="12192000" cy="1545071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F75B60A-3FD8-433F-B673-8E39468D824E}"/>
                </a:ext>
              </a:extLst>
            </p:cNvPr>
            <p:cNvSpPr/>
            <p:nvPr userDrawn="1"/>
          </p:nvSpPr>
          <p:spPr>
            <a:xfrm>
              <a:off x="0" y="1"/>
              <a:ext cx="12192000" cy="1093463"/>
            </a:xfrm>
            <a:custGeom>
              <a:avLst/>
              <a:gdLst>
                <a:gd name="connsiteX0" fmla="*/ 0 w 12192000"/>
                <a:gd name="connsiteY0" fmla="*/ 0 h 1093463"/>
                <a:gd name="connsiteX1" fmla="*/ 12192000 w 12192000"/>
                <a:gd name="connsiteY1" fmla="*/ 0 h 1093463"/>
                <a:gd name="connsiteX2" fmla="*/ 12192000 w 12192000"/>
                <a:gd name="connsiteY2" fmla="*/ 1093463 h 1093463"/>
                <a:gd name="connsiteX3" fmla="*/ 11945698 w 12192000"/>
                <a:gd name="connsiteY3" fmla="*/ 1045640 h 1093463"/>
                <a:gd name="connsiteX4" fmla="*/ 6096000 w 12192000"/>
                <a:gd name="connsiteY4" fmla="*/ 545464 h 1093463"/>
                <a:gd name="connsiteX5" fmla="*/ 246302 w 12192000"/>
                <a:gd name="connsiteY5" fmla="*/ 1045640 h 1093463"/>
                <a:gd name="connsiteX6" fmla="*/ 0 w 12192000"/>
                <a:gd name="connsiteY6" fmla="*/ 1093463 h 109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093463">
                  <a:moveTo>
                    <a:pt x="0" y="0"/>
                  </a:moveTo>
                  <a:lnTo>
                    <a:pt x="12192000" y="0"/>
                  </a:lnTo>
                  <a:lnTo>
                    <a:pt x="12192000" y="1093463"/>
                  </a:lnTo>
                  <a:lnTo>
                    <a:pt x="11945698" y="1045640"/>
                  </a:lnTo>
                  <a:cubicBezTo>
                    <a:pt x="10206798" y="726655"/>
                    <a:pt x="8214061" y="545464"/>
                    <a:pt x="6096000" y="545464"/>
                  </a:cubicBezTo>
                  <a:cubicBezTo>
                    <a:pt x="3977940" y="545464"/>
                    <a:pt x="1985202" y="726655"/>
                    <a:pt x="246302" y="1045640"/>
                  </a:cubicBezTo>
                  <a:lnTo>
                    <a:pt x="0" y="109346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en-GB" altLang="en-GB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8D91074-7CA5-412D-B392-79970843071F}"/>
                </a:ext>
              </a:extLst>
            </p:cNvPr>
            <p:cNvGrpSpPr/>
            <p:nvPr userDrawn="1"/>
          </p:nvGrpSpPr>
          <p:grpSpPr>
            <a:xfrm>
              <a:off x="10648109" y="393700"/>
              <a:ext cx="1150191" cy="1151372"/>
              <a:chOff x="10648109" y="5310073"/>
              <a:chExt cx="1150191" cy="1151372"/>
            </a:xfrm>
          </p:grpSpPr>
          <p:sp>
            <p:nvSpPr>
              <p:cNvPr id="12" name="Rectangle 20">
                <a:extLst>
                  <a:ext uri="{FF2B5EF4-FFF2-40B4-BE49-F238E27FC236}">
                    <a16:creationId xmlns:a16="http://schemas.microsoft.com/office/drawing/2014/main" id="{55A50798-BA63-4054-97C6-E78D398F12B8}"/>
                  </a:ext>
                </a:extLst>
              </p:cNvPr>
              <p:cNvSpPr>
                <a:spLocks noChangeArrowheads="1"/>
              </p:cNvSpPr>
              <p:nvPr userDrawn="1"/>
            </p:nvSpPr>
            <p:spPr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3" name="Rectangle 21">
                <a:extLst>
                  <a:ext uri="{FF2B5EF4-FFF2-40B4-BE49-F238E27FC236}">
                    <a16:creationId xmlns:a16="http://schemas.microsoft.com/office/drawing/2014/main" id="{0C6F2B01-29ED-4CE4-899F-DCC088A6D1E8}"/>
                  </a:ext>
                </a:extLst>
              </p:cNvPr>
              <p:cNvSpPr>
                <a:spLocks noChangeArrowheads="1"/>
              </p:cNvSpPr>
              <p:nvPr userDrawn="1"/>
            </p:nvSpPr>
            <p:spPr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4" name="Oval 22">
                <a:extLst>
                  <a:ext uri="{FF2B5EF4-FFF2-40B4-BE49-F238E27FC236}">
                    <a16:creationId xmlns:a16="http://schemas.microsoft.com/office/drawing/2014/main" id="{F763AC27-B5E4-468D-8F3E-FCE3B099F87F}"/>
                  </a:ext>
                </a:extLst>
              </p:cNvPr>
              <p:cNvSpPr>
                <a:spLocks noChangeArrowheads="1"/>
              </p:cNvSpPr>
              <p:nvPr userDrawn="1"/>
            </p:nvSpPr>
            <p:spPr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5" name="Freeform 23">
                <a:extLst>
                  <a:ext uri="{FF2B5EF4-FFF2-40B4-BE49-F238E27FC236}">
                    <a16:creationId xmlns:a16="http://schemas.microsoft.com/office/drawing/2014/main" id="{54DB9D8A-E0DD-4E8E-837F-77B574F62A95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6" name="Freeform 24">
                <a:extLst>
                  <a:ext uri="{FF2B5EF4-FFF2-40B4-BE49-F238E27FC236}">
                    <a16:creationId xmlns:a16="http://schemas.microsoft.com/office/drawing/2014/main" id="{8F9267D3-6CF4-4003-98E0-1DF062FCC29D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7" name="Freeform 25">
                <a:extLst>
                  <a:ext uri="{FF2B5EF4-FFF2-40B4-BE49-F238E27FC236}">
                    <a16:creationId xmlns:a16="http://schemas.microsoft.com/office/drawing/2014/main" id="{FC34D197-C04B-4FC2-8FC0-3D74CBBB9FBE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8" name="Freeform 26">
                <a:extLst>
                  <a:ext uri="{FF2B5EF4-FFF2-40B4-BE49-F238E27FC236}">
                    <a16:creationId xmlns:a16="http://schemas.microsoft.com/office/drawing/2014/main" id="{88F51C54-07D2-4CDD-9DE3-40BF4DD0088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</p:grpSp>
      </p:grpSp>
      <p:sp>
        <p:nvSpPr>
          <p:cNvPr id="1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19862" y="6527260"/>
            <a:ext cx="8825367" cy="330740"/>
          </a:xfrm>
        </p:spPr>
        <p:txBody>
          <a:bodyPr/>
          <a:lstStyle>
            <a:lvl1pPr marL="0" indent="0">
              <a:buNone/>
              <a:defRPr sz="800"/>
            </a:lvl1pPr>
            <a:lvl2pPr marL="244475" indent="0">
              <a:buNone/>
              <a:defRPr/>
            </a:lvl2pPr>
            <a:lvl3pPr marL="352425" indent="0">
              <a:buNone/>
              <a:defRPr/>
            </a:lvl3pPr>
            <a:lvl4pPr marL="515937" indent="0">
              <a:buNone/>
              <a:defRPr/>
            </a:lvl4pPr>
            <a:lvl5pPr marL="663575" indent="0">
              <a:buNone/>
              <a:defRPr/>
            </a:lvl5pPr>
          </a:lstStyle>
          <a:p>
            <a:pPr lvl="0"/>
            <a:r>
              <a:rPr lang="en-US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0187989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BBEB854-223F-445E-BCA9-D11AA1C450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447452"/>
            <a:ext cx="10252054" cy="268816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</a:p>
          <a:p>
            <a:pPr lvl="0"/>
            <a:endParaRPr lang="en-GB" alt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45C209C-19A0-41E7-B855-D05308DAF8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699" y="1045744"/>
            <a:ext cx="10250868" cy="360000"/>
          </a:xfrm>
          <a:prstGeom prst="rect">
            <a:avLst/>
          </a:prstGeom>
        </p:spPr>
        <p:txBody>
          <a:bodyPr vert="horz" lIns="0" tIns="0" rIns="0" bIns="0" numCol="1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alt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 alt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0E9C47C-F1C8-4778-ACC4-836A1414A8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9862" y="6527260"/>
            <a:ext cx="8825367" cy="3307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  <a:lvl2pPr marL="244475" indent="0">
              <a:buNone/>
              <a:defRPr/>
            </a:lvl2pPr>
            <a:lvl3pPr marL="352425" indent="0">
              <a:buNone/>
              <a:defRPr/>
            </a:lvl3pPr>
            <a:lvl4pPr marL="515937" indent="0">
              <a:buNone/>
              <a:defRPr/>
            </a:lvl4pPr>
            <a:lvl5pPr marL="663575" indent="0">
              <a:buNone/>
              <a:defRPr/>
            </a:lvl5pPr>
          </a:lstStyle>
          <a:p>
            <a:pPr lvl="0"/>
            <a:r>
              <a:rPr lang="en-US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6679650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419CE86-68BF-4542-A10A-767F245CDF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447452"/>
            <a:ext cx="10252054" cy="268816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</a:p>
          <a:p>
            <a:pPr lvl="0"/>
            <a:endParaRPr lang="en-GB" alt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9A2767A-79AE-491E-9B88-A383D77717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699" y="1045744"/>
            <a:ext cx="10250868" cy="360000"/>
          </a:xfrm>
          <a:prstGeom prst="rect">
            <a:avLst/>
          </a:prstGeom>
        </p:spPr>
        <p:txBody>
          <a:bodyPr vert="horz" lIns="0" tIns="0" rIns="0" bIns="0" numCol="1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alt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 altLang="en-GB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5C5AF9C-82BE-4803-B6E2-4756DD838F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9862" y="6527260"/>
            <a:ext cx="8825367" cy="3307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  <a:lvl2pPr marL="244475" indent="0">
              <a:buNone/>
              <a:defRPr/>
            </a:lvl2pPr>
            <a:lvl3pPr marL="352425" indent="0">
              <a:buNone/>
              <a:defRPr/>
            </a:lvl3pPr>
            <a:lvl4pPr marL="515937" indent="0">
              <a:buNone/>
              <a:defRPr/>
            </a:lvl4pPr>
            <a:lvl5pPr marL="663575" indent="0">
              <a:buNone/>
              <a:defRPr/>
            </a:lvl5pPr>
          </a:lstStyle>
          <a:p>
            <a:pPr lvl="0"/>
            <a:r>
              <a:rPr lang="en-US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30186266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886688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495" imgH="496" progId="TCLayout.ActiveDocument.1">
                  <p:embed/>
                </p:oleObj>
              </mc:Choice>
              <mc:Fallback>
                <p:oleObj name="think-cell Slide" r:id="rId4" imgW="495" imgH="4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4400" y="6019800"/>
            <a:ext cx="1016000" cy="228600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29CBAE0-C9DC-48E5-BC21-54F13D4EB4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769600" cy="48736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914401"/>
            <a:ext cx="10972800" cy="52117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337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518" y="514351"/>
            <a:ext cx="11127316" cy="2587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29167" y="944564"/>
            <a:ext cx="11127317" cy="9048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5868160" y="6557187"/>
            <a:ext cx="46679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b="0">
                <a:solidFill>
                  <a:srgbClr val="040707"/>
                </a:solidFill>
                <a:latin typeface="Arial" pitchFamily="34" charset="0"/>
                <a:cs typeface="Arial" pitchFamily="34" charset="0"/>
              </a:rPr>
              <a:t>- </a:t>
            </a:r>
            <a:fld id="{86C77FDF-45C5-4665-AAEE-45520AE6BEA9}" type="slidenum">
              <a:rPr lang="en-US" sz="900" b="0" smtClean="0">
                <a:solidFill>
                  <a:srgbClr val="040707"/>
                </a:solidFill>
                <a:latin typeface="Arial" pitchFamily="34" charset="0"/>
                <a:cs typeface="Arial" pitchFamily="34" charset="0"/>
              </a:rPr>
              <a:pPr/>
              <a:t>‹#›</a:t>
            </a:fld>
            <a:r>
              <a:rPr lang="en-US" sz="900" b="0">
                <a:solidFill>
                  <a:srgbClr val="040707"/>
                </a:solidFill>
                <a:latin typeface="Arial" pitchFamily="34" charset="0"/>
                <a:cs typeface="Arial" pitchFamily="34" charset="0"/>
              </a:rPr>
              <a:t> -</a:t>
            </a:r>
            <a:endParaRPr lang="en-US" sz="900" b="0">
              <a:solidFill>
                <a:srgbClr val="040707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29167" y="773113"/>
            <a:ext cx="11127317" cy="0"/>
          </a:xfrm>
          <a:prstGeom prst="line">
            <a:avLst/>
          </a:prstGeom>
          <a:ln w="25400">
            <a:solidFill>
              <a:srgbClr val="7FC2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1213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GB" b="0" dirty="0"/>
            </a:lvl5pPr>
          </a:lstStyle>
          <a:p>
            <a:pPr lvl="0">
              <a:spcBef>
                <a:spcPts val="1662"/>
              </a:spcBef>
              <a:buFontTx/>
            </a:pPr>
            <a:r>
              <a:rPr lang="en-US"/>
              <a:t>Click to edit Master text styles</a:t>
            </a:r>
          </a:p>
          <a:p>
            <a:pPr lvl="1">
              <a:spcBef>
                <a:spcPts val="1662"/>
              </a:spcBef>
              <a:buFontTx/>
            </a:pPr>
            <a:r>
              <a:rPr lang="en-US"/>
              <a:t>Second level</a:t>
            </a:r>
          </a:p>
          <a:p>
            <a:pPr lvl="2">
              <a:spcBef>
                <a:spcPts val="1662"/>
              </a:spcBef>
              <a:buFontTx/>
            </a:pPr>
            <a:r>
              <a:rPr lang="en-US"/>
              <a:t>Third level</a:t>
            </a:r>
          </a:p>
          <a:p>
            <a:pPr lvl="3">
              <a:spcBef>
                <a:spcPts val="1662"/>
              </a:spcBef>
              <a:buFontTx/>
            </a:pPr>
            <a:r>
              <a:rPr lang="en-US"/>
              <a:t>Fourth level</a:t>
            </a:r>
          </a:p>
          <a:p>
            <a:pPr lvl="4">
              <a:spcBef>
                <a:spcPts val="1662"/>
              </a:spcBef>
              <a:buFontTx/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426058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18" imgW="495" imgH="496" progId="TCLayout.ActiveDocument.1">
                  <p:embed/>
                </p:oleObj>
              </mc:Choice>
              <mc:Fallback>
                <p:oleObj name="think-cell Slide" r:id="rId18" imgW="495" imgH="4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latin typeface="MTN Brighter Sans Bold" panose="00000800000000000000"/>
              <a:ea typeface="+mj-ea"/>
              <a:cs typeface="+mj-cs"/>
              <a:sym typeface="MTN Brighter Sans Bold" panose="0000080000000000000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354283"/>
            <a:ext cx="11404600" cy="360000"/>
          </a:xfrm>
          <a:prstGeom prst="rect">
            <a:avLst/>
          </a:prstGeom>
        </p:spPr>
        <p:txBody>
          <a:bodyPr vert="horz" lIns="0" tIns="0" rIns="0" bIns="0" numCol="1" rtlCol="0" anchor="t">
            <a:noAutofit/>
          </a:bodyPr>
          <a:lstStyle/>
          <a:p>
            <a:r>
              <a:rPr lang="en-US"/>
              <a:t>Add title</a:t>
            </a:r>
            <a:endParaRPr lang="en-GB" alt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932362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marL="207963" lvl="0" indent="-207963">
              <a:buSzPct val="80000"/>
              <a:buFontTx/>
              <a:buBlip>
                <a:blip r:embed="rId20"/>
              </a:buBlip>
            </a:pPr>
            <a:r>
              <a:rPr lang="en-US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400" lvl="2" indent="-180975"/>
            <a:r>
              <a:rPr lang="en-US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ED0FF97-3A79-427B-B3F2-771435D28F6B}"/>
              </a:ext>
            </a:extLst>
          </p:cNvPr>
          <p:cNvGrpSpPr/>
          <p:nvPr userDrawn="1"/>
        </p:nvGrpSpPr>
        <p:grpSpPr>
          <a:xfrm>
            <a:off x="0" y="1"/>
            <a:ext cx="12192000" cy="1545071"/>
            <a:chOff x="0" y="1"/>
            <a:chExt cx="12192000" cy="1545071"/>
          </a:xfrm>
        </p:grpSpPr>
        <p:sp>
          <p:nvSpPr>
            <p:cNvPr id="7" name="Freeform: Shape 16">
              <a:extLst>
                <a:ext uri="{FF2B5EF4-FFF2-40B4-BE49-F238E27FC236}">
                  <a16:creationId xmlns:a16="http://schemas.microsoft.com/office/drawing/2014/main" id="{B6E0F481-118D-4206-965B-E8CE63FD2374}"/>
                </a:ext>
              </a:extLst>
            </p:cNvPr>
            <p:cNvSpPr/>
            <p:nvPr userDrawn="1"/>
          </p:nvSpPr>
          <p:spPr>
            <a:xfrm>
              <a:off x="0" y="1"/>
              <a:ext cx="12192000" cy="1093463"/>
            </a:xfrm>
            <a:custGeom>
              <a:avLst/>
              <a:gdLst>
                <a:gd name="connsiteX0" fmla="*/ 0 w 12192000"/>
                <a:gd name="connsiteY0" fmla="*/ 0 h 1093463"/>
                <a:gd name="connsiteX1" fmla="*/ 12192000 w 12192000"/>
                <a:gd name="connsiteY1" fmla="*/ 0 h 1093463"/>
                <a:gd name="connsiteX2" fmla="*/ 12192000 w 12192000"/>
                <a:gd name="connsiteY2" fmla="*/ 1093463 h 1093463"/>
                <a:gd name="connsiteX3" fmla="*/ 11945698 w 12192000"/>
                <a:gd name="connsiteY3" fmla="*/ 1045640 h 1093463"/>
                <a:gd name="connsiteX4" fmla="*/ 6096000 w 12192000"/>
                <a:gd name="connsiteY4" fmla="*/ 545464 h 1093463"/>
                <a:gd name="connsiteX5" fmla="*/ 246302 w 12192000"/>
                <a:gd name="connsiteY5" fmla="*/ 1045640 h 1093463"/>
                <a:gd name="connsiteX6" fmla="*/ 0 w 12192000"/>
                <a:gd name="connsiteY6" fmla="*/ 1093463 h 109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093463">
                  <a:moveTo>
                    <a:pt x="0" y="0"/>
                  </a:moveTo>
                  <a:lnTo>
                    <a:pt x="12192000" y="0"/>
                  </a:lnTo>
                  <a:lnTo>
                    <a:pt x="12192000" y="1093463"/>
                  </a:lnTo>
                  <a:lnTo>
                    <a:pt x="11945698" y="1045640"/>
                  </a:lnTo>
                  <a:cubicBezTo>
                    <a:pt x="10206798" y="726655"/>
                    <a:pt x="8214061" y="545464"/>
                    <a:pt x="6096000" y="545464"/>
                  </a:cubicBezTo>
                  <a:cubicBezTo>
                    <a:pt x="3977940" y="545464"/>
                    <a:pt x="1985202" y="726655"/>
                    <a:pt x="246302" y="1045640"/>
                  </a:cubicBezTo>
                  <a:lnTo>
                    <a:pt x="0" y="109346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en-GB" altLang="en-GB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55B6095-D97D-4836-83AE-03217F15C9CD}"/>
                </a:ext>
              </a:extLst>
            </p:cNvPr>
            <p:cNvGrpSpPr/>
            <p:nvPr userDrawn="1"/>
          </p:nvGrpSpPr>
          <p:grpSpPr>
            <a:xfrm>
              <a:off x="10648109" y="393700"/>
              <a:ext cx="1150191" cy="1151372"/>
              <a:chOff x="10648109" y="5310073"/>
              <a:chExt cx="1150191" cy="1151372"/>
            </a:xfrm>
          </p:grpSpPr>
          <p:sp>
            <p:nvSpPr>
              <p:cNvPr id="9" name="Rectangle 20">
                <a:extLst>
                  <a:ext uri="{FF2B5EF4-FFF2-40B4-BE49-F238E27FC236}">
                    <a16:creationId xmlns:a16="http://schemas.microsoft.com/office/drawing/2014/main" id="{94DCF7C2-C372-4817-A4FA-118CE18A2468}"/>
                  </a:ext>
                </a:extLst>
              </p:cNvPr>
              <p:cNvSpPr>
                <a:spLocks noChangeArrowheads="1"/>
              </p:cNvSpPr>
              <p:nvPr userDrawn="1"/>
            </p:nvSpPr>
            <p:spPr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3" name="Freeform 24">
                <a:extLst>
                  <a:ext uri="{FF2B5EF4-FFF2-40B4-BE49-F238E27FC236}">
                    <a16:creationId xmlns:a16="http://schemas.microsoft.com/office/drawing/2014/main" id="{A312D850-129E-4BB2-BC06-35889DC96FD5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  <p:sp>
            <p:nvSpPr>
              <p:cNvPr id="14" name="Freeform 25">
                <a:extLst>
                  <a:ext uri="{FF2B5EF4-FFF2-40B4-BE49-F238E27FC236}">
                    <a16:creationId xmlns:a16="http://schemas.microsoft.com/office/drawing/2014/main" id="{9FFC8DFA-0242-486E-B2A3-75D78FF4DB93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altLang="en-GB"/>
              </a:p>
            </p:txBody>
          </p:sp>
        </p:grp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560EFCDF-3CF2-4901-85B6-291B32087FC0}"/>
              </a:ext>
            </a:extLst>
          </p:cNvPr>
          <p:cNvSpPr/>
          <p:nvPr userDrawn="1"/>
        </p:nvSpPr>
        <p:spPr>
          <a:xfrm>
            <a:off x="11572875" y="6541227"/>
            <a:ext cx="619125" cy="24622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numCol="1" rtlCol="0" anchor="ctr"/>
          <a:lstStyle/>
          <a:p>
            <a:pPr algn="ctr"/>
            <a:fld id="{DA70226B-C0E4-43BB-9549-8E089DB1098E}" type="slidenum">
              <a:rPr lang="en-GB" altLang="en-GB" sz="900" b="1" smtClean="0">
                <a:solidFill>
                  <a:schemeClr val="tx1"/>
                </a:solidFill>
              </a:rPr>
              <a:pPr algn="ctr"/>
              <a:t>‹#›</a:t>
            </a:fld>
            <a:endParaRPr lang="en-GB" altLang="en-GB" sz="900" b="1">
              <a:solidFill>
                <a:schemeClr val="tx1"/>
              </a:solidFill>
            </a:endParaRPr>
          </a:p>
        </p:txBody>
      </p:sp>
      <p:pic>
        <p:nvPicPr>
          <p:cNvPr id="1027" name="Picture 9">
            <a:extLst>
              <a:ext uri="{FF2B5EF4-FFF2-40B4-BE49-F238E27FC236}">
                <a16:creationId xmlns:a16="http://schemas.microsoft.com/office/drawing/2014/main" id="{CEAD3BAD-FBE9-4F4A-A79B-9A53BA8935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334" y="847127"/>
            <a:ext cx="1113850" cy="560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4897456-B08F-4E04-A974-F04547B6AF10}"/>
              </a:ext>
            </a:extLst>
          </p:cNvPr>
          <p:cNvSpPr/>
          <p:nvPr userDrawn="1"/>
        </p:nvSpPr>
        <p:spPr>
          <a:xfrm>
            <a:off x="10551459" y="354283"/>
            <a:ext cx="1308847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46652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GB" alt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8">
          <p15:clr>
            <a:srgbClr val="F26B43"/>
          </p15:clr>
        </p15:guide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3716">
          <p15:clr>
            <a:srgbClr val="F26B43"/>
          </p15:clr>
        </p15:guide>
        <p15:guide id="6" pos="3964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1207">
          <p15:clr>
            <a:srgbClr val="F26B43"/>
          </p15:clr>
        </p15:guide>
        <p15:guide id="11" orient="horz" pos="1230">
          <p15:clr>
            <a:srgbClr val="F26B43"/>
          </p15:clr>
        </p15:guide>
        <p15:guide id="1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535E68F-D042-4194-A842-44BD2A818C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535E68F-D042-4194-A842-44BD2A818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5CF5CF-1FD4-4859-A96B-9F3B13368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sz="2800"/>
              <a:t>Working with data studio</a:t>
            </a:r>
          </a:p>
        </p:txBody>
      </p:sp>
    </p:spTree>
    <p:extLst>
      <p:ext uri="{BB962C8B-B14F-4D97-AF65-F5344CB8AC3E}">
        <p14:creationId xmlns:p14="http://schemas.microsoft.com/office/powerpoint/2010/main" val="18875040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FA2F80-FFEA-48E9-9960-E85949021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DFA2F80-FFEA-48E9-9960-E85949021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C1823F-EE38-4073-A56E-28C7F2D89F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/>
              <a:t>Working with Data Studio (1/3)</a:t>
            </a:r>
          </a:p>
          <a:p>
            <a:endParaRPr lang="en-ZA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E79EA9-F8C8-4C15-B17F-CF2EEAFCB03D}"/>
              </a:ext>
            </a:extLst>
          </p:cNvPr>
          <p:cNvSpPr/>
          <p:nvPr/>
        </p:nvSpPr>
        <p:spPr bwMode="gray">
          <a:xfrm>
            <a:off x="8419187" y="2206914"/>
            <a:ext cx="2809214" cy="5022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4450" rIns="0" bIns="44450"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DD DATA SOUR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04DF66-C49C-4939-9370-F1BE56FC9272}"/>
              </a:ext>
            </a:extLst>
          </p:cNvPr>
          <p:cNvSpPr/>
          <p:nvPr/>
        </p:nvSpPr>
        <p:spPr bwMode="gray">
          <a:xfrm>
            <a:off x="8117904" y="2291729"/>
            <a:ext cx="308983" cy="33258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Next Pro Light" panose="020B0303040204020203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14" name="Freeform 39">
            <a:extLst>
              <a:ext uri="{FF2B5EF4-FFF2-40B4-BE49-F238E27FC236}">
                <a16:creationId xmlns:a16="http://schemas.microsoft.com/office/drawing/2014/main" id="{565F03CC-4070-4DEB-A7D3-253AF141D655}"/>
              </a:ext>
            </a:extLst>
          </p:cNvPr>
          <p:cNvSpPr/>
          <p:nvPr/>
        </p:nvSpPr>
        <p:spPr>
          <a:xfrm>
            <a:off x="8117903" y="2741905"/>
            <a:ext cx="3209671" cy="3153064"/>
          </a:xfrm>
          <a:custGeom>
            <a:avLst/>
            <a:gdLst>
              <a:gd name="connsiteX0" fmla="*/ 0 w 2035629"/>
              <a:gd name="connsiteY0" fmla="*/ 0 h 4169228"/>
              <a:gd name="connsiteX1" fmla="*/ 2035629 w 2035629"/>
              <a:gd name="connsiteY1" fmla="*/ 0 h 4169228"/>
              <a:gd name="connsiteX2" fmla="*/ 2035629 w 2035629"/>
              <a:gd name="connsiteY2" fmla="*/ 4169228 h 4169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629" h="4169228">
                <a:moveTo>
                  <a:pt x="0" y="0"/>
                </a:moveTo>
                <a:lnTo>
                  <a:pt x="2035629" y="0"/>
                </a:lnTo>
                <a:lnTo>
                  <a:pt x="2035629" y="416922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D46CB652-E0B3-45A8-9CB9-902195F3031B}"/>
              </a:ext>
            </a:extLst>
          </p:cNvPr>
          <p:cNvSpPr txBox="1">
            <a:spLocks/>
          </p:cNvSpPr>
          <p:nvPr/>
        </p:nvSpPr>
        <p:spPr>
          <a:xfrm>
            <a:off x="8117904" y="2837603"/>
            <a:ext cx="3113908" cy="1025922"/>
          </a:xfrm>
          <a:prstGeom prst="rect">
            <a:avLst/>
          </a:prstGeom>
        </p:spPr>
        <p:txBody>
          <a:bodyPr vert="horz" wrap="square" lIns="4572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After creating a blank report, a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add data to repor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pop up will appea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Next, find the 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Google Cloud Storage </a:t>
            </a: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and select it. There are many other connectors to choose from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2C8CE6-406E-48F3-B8B3-1762012C0FC1}"/>
              </a:ext>
            </a:extLst>
          </p:cNvPr>
          <p:cNvSpPr/>
          <p:nvPr/>
        </p:nvSpPr>
        <p:spPr bwMode="gray">
          <a:xfrm>
            <a:off x="4795531" y="2202395"/>
            <a:ext cx="2809214" cy="51124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4450" rIns="0" bIns="44450"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REATE BLANK REPORT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10D114B-7B19-4E8F-AF22-81926817AFC9}"/>
              </a:ext>
            </a:extLst>
          </p:cNvPr>
          <p:cNvSpPr/>
          <p:nvPr/>
        </p:nvSpPr>
        <p:spPr bwMode="gray">
          <a:xfrm>
            <a:off x="4495784" y="2288736"/>
            <a:ext cx="308983" cy="33856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Next Pro Light" panose="020B0303040204020203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4" name="Freeform 38">
            <a:extLst>
              <a:ext uri="{FF2B5EF4-FFF2-40B4-BE49-F238E27FC236}">
                <a16:creationId xmlns:a16="http://schemas.microsoft.com/office/drawing/2014/main" id="{91DDE8F1-7D8B-40B8-95CE-23274497B317}"/>
              </a:ext>
            </a:extLst>
          </p:cNvPr>
          <p:cNvSpPr/>
          <p:nvPr/>
        </p:nvSpPr>
        <p:spPr>
          <a:xfrm>
            <a:off x="4495783" y="2741905"/>
            <a:ext cx="3209671" cy="3153064"/>
          </a:xfrm>
          <a:custGeom>
            <a:avLst/>
            <a:gdLst>
              <a:gd name="connsiteX0" fmla="*/ 0 w 2035629"/>
              <a:gd name="connsiteY0" fmla="*/ 0 h 4169228"/>
              <a:gd name="connsiteX1" fmla="*/ 2035629 w 2035629"/>
              <a:gd name="connsiteY1" fmla="*/ 0 h 4169228"/>
              <a:gd name="connsiteX2" fmla="*/ 2035629 w 2035629"/>
              <a:gd name="connsiteY2" fmla="*/ 4169228 h 4169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629" h="4169228">
                <a:moveTo>
                  <a:pt x="0" y="0"/>
                </a:moveTo>
                <a:lnTo>
                  <a:pt x="2035629" y="0"/>
                </a:lnTo>
                <a:lnTo>
                  <a:pt x="2035629" y="416922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DEDFCC9E-E5FD-418E-828A-EEAB811979E3}"/>
              </a:ext>
            </a:extLst>
          </p:cNvPr>
          <p:cNvSpPr txBox="1">
            <a:spLocks/>
          </p:cNvSpPr>
          <p:nvPr/>
        </p:nvSpPr>
        <p:spPr>
          <a:xfrm>
            <a:off x="4495784" y="2837603"/>
            <a:ext cx="3108959" cy="553998"/>
          </a:xfrm>
          <a:prstGeom prst="rect">
            <a:avLst/>
          </a:prstGeom>
        </p:spPr>
        <p:txBody>
          <a:bodyPr vert="horz" wrap="square" lIns="4572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Once signed in, simply click on “+” for the “Blank” report template. There are other pre-built templates you can us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47F343-C0B9-4EB4-80D6-A256B5C5F7A3}"/>
              </a:ext>
            </a:extLst>
          </p:cNvPr>
          <p:cNvSpPr/>
          <p:nvPr/>
        </p:nvSpPr>
        <p:spPr bwMode="gray">
          <a:xfrm>
            <a:off x="1173412" y="2206914"/>
            <a:ext cx="2809214" cy="5022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4450" rIns="0" bIns="44450"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IGN I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96CF399-8119-4CFF-9496-BA084148470D}"/>
              </a:ext>
            </a:extLst>
          </p:cNvPr>
          <p:cNvSpPr/>
          <p:nvPr/>
        </p:nvSpPr>
        <p:spPr bwMode="gray">
          <a:xfrm>
            <a:off x="864429" y="2291729"/>
            <a:ext cx="308983" cy="33258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Next Pro Light" panose="020B0303040204020203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34" name="object 4">
            <a:extLst>
              <a:ext uri="{FF2B5EF4-FFF2-40B4-BE49-F238E27FC236}">
                <a16:creationId xmlns:a16="http://schemas.microsoft.com/office/drawing/2014/main" id="{671522E1-0F49-4C7E-A3B1-40A26E849C13}"/>
              </a:ext>
            </a:extLst>
          </p:cNvPr>
          <p:cNvSpPr txBox="1">
            <a:spLocks/>
          </p:cNvSpPr>
          <p:nvPr/>
        </p:nvSpPr>
        <p:spPr>
          <a:xfrm>
            <a:off x="864428" y="2837603"/>
            <a:ext cx="3108959" cy="369332"/>
          </a:xfrm>
          <a:prstGeom prst="rect">
            <a:avLst/>
          </a:prstGeom>
        </p:spPr>
        <p:txBody>
          <a:bodyPr vert="horz" wrap="square" lIns="4572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Visit </a:t>
            </a:r>
            <a:r>
              <a:rPr kumimoji="0" lang="en-ZA" sz="1200" b="0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datastudio.google.com </a:t>
            </a: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and sign in with google accou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Arial"/>
              <a:cs typeface="Arial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6512C14E-9AEA-4D12-A35B-2FDE641B9CE4}"/>
              </a:ext>
            </a:extLst>
          </p:cNvPr>
          <p:cNvSpPr/>
          <p:nvPr/>
        </p:nvSpPr>
        <p:spPr>
          <a:xfrm>
            <a:off x="864428" y="2741905"/>
            <a:ext cx="3209671" cy="3153064"/>
          </a:xfrm>
          <a:custGeom>
            <a:avLst/>
            <a:gdLst>
              <a:gd name="connsiteX0" fmla="*/ 0 w 2035629"/>
              <a:gd name="connsiteY0" fmla="*/ 0 h 4169228"/>
              <a:gd name="connsiteX1" fmla="*/ 2035629 w 2035629"/>
              <a:gd name="connsiteY1" fmla="*/ 0 h 4169228"/>
              <a:gd name="connsiteX2" fmla="*/ 2035629 w 2035629"/>
              <a:gd name="connsiteY2" fmla="*/ 4169228 h 4169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629" h="4169228">
                <a:moveTo>
                  <a:pt x="0" y="0"/>
                </a:moveTo>
                <a:lnTo>
                  <a:pt x="2035629" y="0"/>
                </a:lnTo>
                <a:lnTo>
                  <a:pt x="2035629" y="416922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46671EEF-F3D6-472C-BCD1-94242E2471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782" y="4022969"/>
            <a:ext cx="2989783" cy="1872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80315830-A046-49CA-9830-12D92AFE0E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427" y="4022970"/>
            <a:ext cx="2989783" cy="18768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9" name="Picture 4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7246909-1B94-4772-A925-D5C666DD35C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7902" y="4022969"/>
            <a:ext cx="3041176" cy="1872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415CD4D-576F-41BD-9CA4-B47475990A98}"/>
              </a:ext>
            </a:extLst>
          </p:cNvPr>
          <p:cNvSpPr/>
          <p:nvPr/>
        </p:nvSpPr>
        <p:spPr>
          <a:xfrm>
            <a:off x="5486399" y="4973954"/>
            <a:ext cx="980501" cy="76583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287A5D1-FE00-4324-BA14-4C1001C32716}"/>
              </a:ext>
            </a:extLst>
          </p:cNvPr>
          <p:cNvSpPr/>
          <p:nvPr/>
        </p:nvSpPr>
        <p:spPr>
          <a:xfrm>
            <a:off x="10443990" y="5186601"/>
            <a:ext cx="715088" cy="70836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8607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FA2F80-FFEA-48E9-9960-E85949021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DFA2F80-FFEA-48E9-9960-E85949021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C1823F-EE38-4073-A56E-28C7F2D89F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/>
              <a:t>Working with Data Studio (2/3)</a:t>
            </a:r>
          </a:p>
          <a:p>
            <a:endParaRPr lang="en-ZA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E79EA9-F8C8-4C15-B17F-CF2EEAFCB03D}"/>
              </a:ext>
            </a:extLst>
          </p:cNvPr>
          <p:cNvSpPr/>
          <p:nvPr/>
        </p:nvSpPr>
        <p:spPr bwMode="gray">
          <a:xfrm>
            <a:off x="8419187" y="2206914"/>
            <a:ext cx="2809214" cy="5022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4450" rIns="0" bIns="44450"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CP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04DF66-C49C-4939-9370-F1BE56FC9272}"/>
              </a:ext>
            </a:extLst>
          </p:cNvPr>
          <p:cNvSpPr/>
          <p:nvPr/>
        </p:nvSpPr>
        <p:spPr bwMode="gray">
          <a:xfrm>
            <a:off x="8117904" y="2291729"/>
            <a:ext cx="308983" cy="33258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Next Pro Light" panose="020B0303040204020203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14" name="Freeform 39">
            <a:extLst>
              <a:ext uri="{FF2B5EF4-FFF2-40B4-BE49-F238E27FC236}">
                <a16:creationId xmlns:a16="http://schemas.microsoft.com/office/drawing/2014/main" id="{565F03CC-4070-4DEB-A7D3-253AF141D655}"/>
              </a:ext>
            </a:extLst>
          </p:cNvPr>
          <p:cNvSpPr/>
          <p:nvPr/>
        </p:nvSpPr>
        <p:spPr>
          <a:xfrm>
            <a:off x="8117903" y="2741905"/>
            <a:ext cx="3209671" cy="3153064"/>
          </a:xfrm>
          <a:custGeom>
            <a:avLst/>
            <a:gdLst>
              <a:gd name="connsiteX0" fmla="*/ 0 w 2035629"/>
              <a:gd name="connsiteY0" fmla="*/ 0 h 4169228"/>
              <a:gd name="connsiteX1" fmla="*/ 2035629 w 2035629"/>
              <a:gd name="connsiteY1" fmla="*/ 0 h 4169228"/>
              <a:gd name="connsiteX2" fmla="*/ 2035629 w 2035629"/>
              <a:gd name="connsiteY2" fmla="*/ 4169228 h 4169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629" h="4169228">
                <a:moveTo>
                  <a:pt x="0" y="0"/>
                </a:moveTo>
                <a:lnTo>
                  <a:pt x="2035629" y="0"/>
                </a:lnTo>
                <a:lnTo>
                  <a:pt x="2035629" y="416922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D46CB652-E0B3-45A8-9CB9-902195F3031B}"/>
              </a:ext>
            </a:extLst>
          </p:cNvPr>
          <p:cNvSpPr txBox="1">
            <a:spLocks/>
          </p:cNvSpPr>
          <p:nvPr/>
        </p:nvSpPr>
        <p:spPr>
          <a:xfrm>
            <a:off x="8117904" y="2837603"/>
            <a:ext cx="3113908" cy="369332"/>
          </a:xfrm>
          <a:prstGeom prst="rect">
            <a:avLst/>
          </a:prstGeom>
        </p:spPr>
        <p:txBody>
          <a:bodyPr vert="horz" wrap="square" lIns="4572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Copy the file path to the clipboard and navigate back to Data Studio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2C8CE6-406E-48F3-B8B3-1762012C0FC1}"/>
              </a:ext>
            </a:extLst>
          </p:cNvPr>
          <p:cNvSpPr/>
          <p:nvPr/>
        </p:nvSpPr>
        <p:spPr bwMode="gray">
          <a:xfrm>
            <a:off x="4795531" y="2202395"/>
            <a:ext cx="2809214" cy="51124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4450" rIns="0" bIns="44450"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CP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10D114B-7B19-4E8F-AF22-81926817AFC9}"/>
              </a:ext>
            </a:extLst>
          </p:cNvPr>
          <p:cNvSpPr/>
          <p:nvPr/>
        </p:nvSpPr>
        <p:spPr bwMode="gray">
          <a:xfrm>
            <a:off x="4495784" y="2288736"/>
            <a:ext cx="308983" cy="33856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Next Pro Light" panose="020B0303040204020203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24" name="Freeform 38">
            <a:extLst>
              <a:ext uri="{FF2B5EF4-FFF2-40B4-BE49-F238E27FC236}">
                <a16:creationId xmlns:a16="http://schemas.microsoft.com/office/drawing/2014/main" id="{91DDE8F1-7D8B-40B8-95CE-23274497B317}"/>
              </a:ext>
            </a:extLst>
          </p:cNvPr>
          <p:cNvSpPr/>
          <p:nvPr/>
        </p:nvSpPr>
        <p:spPr>
          <a:xfrm>
            <a:off x="4495783" y="2741905"/>
            <a:ext cx="3209671" cy="3153064"/>
          </a:xfrm>
          <a:custGeom>
            <a:avLst/>
            <a:gdLst>
              <a:gd name="connsiteX0" fmla="*/ 0 w 2035629"/>
              <a:gd name="connsiteY0" fmla="*/ 0 h 4169228"/>
              <a:gd name="connsiteX1" fmla="*/ 2035629 w 2035629"/>
              <a:gd name="connsiteY1" fmla="*/ 0 h 4169228"/>
              <a:gd name="connsiteX2" fmla="*/ 2035629 w 2035629"/>
              <a:gd name="connsiteY2" fmla="*/ 4169228 h 4169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629" h="4169228">
                <a:moveTo>
                  <a:pt x="0" y="0"/>
                </a:moveTo>
                <a:lnTo>
                  <a:pt x="2035629" y="0"/>
                </a:lnTo>
                <a:lnTo>
                  <a:pt x="2035629" y="416922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DEDFCC9E-E5FD-418E-828A-EEAB811979E3}"/>
              </a:ext>
            </a:extLst>
          </p:cNvPr>
          <p:cNvSpPr txBox="1">
            <a:spLocks/>
          </p:cNvSpPr>
          <p:nvPr/>
        </p:nvSpPr>
        <p:spPr>
          <a:xfrm>
            <a:off x="4506801" y="2837603"/>
            <a:ext cx="3108959" cy="369332"/>
          </a:xfrm>
          <a:prstGeom prst="rect">
            <a:avLst/>
          </a:prstGeom>
        </p:spPr>
        <p:txBody>
          <a:bodyPr vert="horz" wrap="square" lIns="4572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Click 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Cloud Storage </a:t>
            </a: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and navigate to the desired datase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47F343-C0B9-4EB4-80D6-A256B5C5F7A3}"/>
              </a:ext>
            </a:extLst>
          </p:cNvPr>
          <p:cNvSpPr/>
          <p:nvPr/>
        </p:nvSpPr>
        <p:spPr bwMode="gray">
          <a:xfrm>
            <a:off x="1173412" y="2206914"/>
            <a:ext cx="2809214" cy="5022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4450" rIns="0" bIns="44450"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PY FILE PATH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96CF399-8119-4CFF-9496-BA084148470D}"/>
              </a:ext>
            </a:extLst>
          </p:cNvPr>
          <p:cNvSpPr/>
          <p:nvPr/>
        </p:nvSpPr>
        <p:spPr bwMode="gray">
          <a:xfrm>
            <a:off x="864429" y="2291729"/>
            <a:ext cx="308983" cy="33258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Next Pro Light" panose="020B0303040204020203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34" name="object 4">
            <a:extLst>
              <a:ext uri="{FF2B5EF4-FFF2-40B4-BE49-F238E27FC236}">
                <a16:creationId xmlns:a16="http://schemas.microsoft.com/office/drawing/2014/main" id="{671522E1-0F49-4C7E-A3B1-40A26E849C13}"/>
              </a:ext>
            </a:extLst>
          </p:cNvPr>
          <p:cNvSpPr txBox="1">
            <a:spLocks/>
          </p:cNvSpPr>
          <p:nvPr/>
        </p:nvSpPr>
        <p:spPr>
          <a:xfrm>
            <a:off x="864428" y="2837603"/>
            <a:ext cx="3108959" cy="553998"/>
          </a:xfrm>
          <a:prstGeom prst="rect">
            <a:avLst/>
          </a:prstGeom>
        </p:spPr>
        <p:txBody>
          <a:bodyPr vert="horz" wrap="square" lIns="4572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Navigate to 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G</a:t>
            </a:r>
            <a:r>
              <a:rPr kumimoji="0" lang="en-ZA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oogle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 Cloud Storage </a:t>
            </a: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and copy the path of the dataset to be used in the EDA dashboar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Arial"/>
              <a:cs typeface="Arial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6512C14E-9AEA-4D12-A35B-2FDE641B9CE4}"/>
              </a:ext>
            </a:extLst>
          </p:cNvPr>
          <p:cNvSpPr/>
          <p:nvPr/>
        </p:nvSpPr>
        <p:spPr>
          <a:xfrm>
            <a:off x="864428" y="2741905"/>
            <a:ext cx="3209671" cy="3153064"/>
          </a:xfrm>
          <a:custGeom>
            <a:avLst/>
            <a:gdLst>
              <a:gd name="connsiteX0" fmla="*/ 0 w 2035629"/>
              <a:gd name="connsiteY0" fmla="*/ 0 h 4169228"/>
              <a:gd name="connsiteX1" fmla="*/ 2035629 w 2035629"/>
              <a:gd name="connsiteY1" fmla="*/ 0 h 4169228"/>
              <a:gd name="connsiteX2" fmla="*/ 2035629 w 2035629"/>
              <a:gd name="connsiteY2" fmla="*/ 4169228 h 4169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629" h="4169228">
                <a:moveTo>
                  <a:pt x="0" y="0"/>
                </a:moveTo>
                <a:lnTo>
                  <a:pt x="2035629" y="0"/>
                </a:lnTo>
                <a:lnTo>
                  <a:pt x="2035629" y="416922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1" name="Picture 20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56976B70-7257-48C3-A7CE-565A7E3530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426" y="4022969"/>
            <a:ext cx="3041177" cy="1872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2437DE6-481E-46F4-BC72-68655CA2CA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782" y="4022969"/>
            <a:ext cx="3108959" cy="1872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</p:pic>
      <p:pic>
        <p:nvPicPr>
          <p:cNvPr id="27" name="Picture 26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9ED6EFB-32EB-445E-9BFA-568180668C9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184" y="4022969"/>
            <a:ext cx="3167307" cy="1872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B508E1B-F5AC-41E9-990F-ADCB58AFF3CA}"/>
              </a:ext>
            </a:extLst>
          </p:cNvPr>
          <p:cNvSpPr/>
          <p:nvPr/>
        </p:nvSpPr>
        <p:spPr>
          <a:xfrm>
            <a:off x="4610939" y="5365214"/>
            <a:ext cx="1589199" cy="29745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2736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FA2F80-FFEA-48E9-9960-E85949021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DFA2F80-FFEA-48E9-9960-E85949021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C1823F-EE38-4073-A56E-28C7F2D89F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/>
              <a:t>Working with Data Studio (3/3)</a:t>
            </a:r>
          </a:p>
          <a:p>
            <a:endParaRPr lang="en-ZA"/>
          </a:p>
        </p:txBody>
      </p:sp>
      <p:sp>
        <p:nvSpPr>
          <p:cNvPr id="43" name="Title 3">
            <a:extLst>
              <a:ext uri="{FF2B5EF4-FFF2-40B4-BE49-F238E27FC236}">
                <a16:creationId xmlns:a16="http://schemas.microsoft.com/office/drawing/2014/main" id="{5471EB48-5613-4290-90BB-62C26C5DA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98" y="220457"/>
            <a:ext cx="11160000" cy="193899"/>
          </a:xfr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ZA" sz="1400" b="1"/>
              <a:t>MTN ADAM – </a:t>
            </a:r>
            <a:r>
              <a:rPr lang="en-US" sz="1400" b="1"/>
              <a:t>DATA DISCOVERY &amp; REMEDIATION</a:t>
            </a:r>
            <a:endParaRPr lang="en-GB" sz="1400" b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2C8CE6-406E-48F3-B8B3-1762012C0FC1}"/>
              </a:ext>
            </a:extLst>
          </p:cNvPr>
          <p:cNvSpPr/>
          <p:nvPr/>
        </p:nvSpPr>
        <p:spPr bwMode="gray">
          <a:xfrm>
            <a:off x="3788760" y="1568698"/>
            <a:ext cx="2328252" cy="51124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4450" rIns="0" bIns="44450"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DD DATA TO REPORT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10D114B-7B19-4E8F-AF22-81926817AFC9}"/>
              </a:ext>
            </a:extLst>
          </p:cNvPr>
          <p:cNvSpPr/>
          <p:nvPr/>
        </p:nvSpPr>
        <p:spPr bwMode="gray">
          <a:xfrm>
            <a:off x="3489013" y="1655039"/>
            <a:ext cx="308983" cy="33856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Next Pro Light" panose="020B0303040204020203" pitchFamily="34" charset="0"/>
                <a:ea typeface="+mn-ea"/>
                <a:cs typeface="+mn-cs"/>
              </a:rPr>
              <a:t>8</a:t>
            </a:r>
          </a:p>
        </p:txBody>
      </p:sp>
      <p:sp>
        <p:nvSpPr>
          <p:cNvPr id="24" name="Freeform 38">
            <a:extLst>
              <a:ext uri="{FF2B5EF4-FFF2-40B4-BE49-F238E27FC236}">
                <a16:creationId xmlns:a16="http://schemas.microsoft.com/office/drawing/2014/main" id="{91DDE8F1-7D8B-40B8-95CE-23274497B317}"/>
              </a:ext>
            </a:extLst>
          </p:cNvPr>
          <p:cNvSpPr/>
          <p:nvPr/>
        </p:nvSpPr>
        <p:spPr>
          <a:xfrm>
            <a:off x="3489012" y="2108208"/>
            <a:ext cx="2628000" cy="4367072"/>
          </a:xfrm>
          <a:custGeom>
            <a:avLst/>
            <a:gdLst>
              <a:gd name="connsiteX0" fmla="*/ 0 w 2035629"/>
              <a:gd name="connsiteY0" fmla="*/ 0 h 4169228"/>
              <a:gd name="connsiteX1" fmla="*/ 2035629 w 2035629"/>
              <a:gd name="connsiteY1" fmla="*/ 0 h 4169228"/>
              <a:gd name="connsiteX2" fmla="*/ 2035629 w 2035629"/>
              <a:gd name="connsiteY2" fmla="*/ 4169228 h 4169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629" h="4169228">
                <a:moveTo>
                  <a:pt x="0" y="0"/>
                </a:moveTo>
                <a:lnTo>
                  <a:pt x="2035629" y="0"/>
                </a:lnTo>
                <a:lnTo>
                  <a:pt x="2035629" y="416922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DEDFCC9E-E5FD-418E-828A-EEAB811979E3}"/>
              </a:ext>
            </a:extLst>
          </p:cNvPr>
          <p:cNvSpPr txBox="1">
            <a:spLocks/>
          </p:cNvSpPr>
          <p:nvPr/>
        </p:nvSpPr>
        <p:spPr>
          <a:xfrm>
            <a:off x="3500031" y="2203906"/>
            <a:ext cx="2616982" cy="471924"/>
          </a:xfrm>
          <a:prstGeom prst="rect">
            <a:avLst/>
          </a:prstGeom>
        </p:spPr>
        <p:txBody>
          <a:bodyPr vert="horz" wrap="square" lIns="4572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The below pop up will appear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then click </a:t>
            </a:r>
            <a:r>
              <a:rPr kumimoji="0" lang="en-Z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add to repor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47F343-C0B9-4EB4-80D6-A256B5C5F7A3}"/>
              </a:ext>
            </a:extLst>
          </p:cNvPr>
          <p:cNvSpPr/>
          <p:nvPr/>
        </p:nvSpPr>
        <p:spPr bwMode="gray">
          <a:xfrm>
            <a:off x="668495" y="1572059"/>
            <a:ext cx="2809214" cy="5022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4450" rIns="0" bIns="44450"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ASTE FILE PATH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96CF399-8119-4CFF-9496-BA084148470D}"/>
              </a:ext>
            </a:extLst>
          </p:cNvPr>
          <p:cNvSpPr/>
          <p:nvPr/>
        </p:nvSpPr>
        <p:spPr bwMode="gray">
          <a:xfrm>
            <a:off x="359512" y="1656874"/>
            <a:ext cx="308983" cy="33258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Next Pro Light" panose="020B0303040204020203" pitchFamily="34" charset="0"/>
                <a:ea typeface="+mn-ea"/>
                <a:cs typeface="+mn-cs"/>
              </a:rPr>
              <a:t>7</a:t>
            </a:r>
          </a:p>
        </p:txBody>
      </p:sp>
      <p:sp>
        <p:nvSpPr>
          <p:cNvPr id="34" name="object 4">
            <a:extLst>
              <a:ext uri="{FF2B5EF4-FFF2-40B4-BE49-F238E27FC236}">
                <a16:creationId xmlns:a16="http://schemas.microsoft.com/office/drawing/2014/main" id="{671522E1-0F49-4C7E-A3B1-40A26E849C13}"/>
              </a:ext>
            </a:extLst>
          </p:cNvPr>
          <p:cNvSpPr txBox="1">
            <a:spLocks/>
          </p:cNvSpPr>
          <p:nvPr/>
        </p:nvSpPr>
        <p:spPr>
          <a:xfrm>
            <a:off x="359511" y="2202748"/>
            <a:ext cx="3108959" cy="471924"/>
          </a:xfrm>
          <a:prstGeom prst="rect">
            <a:avLst/>
          </a:prstGeom>
        </p:spPr>
        <p:txBody>
          <a:bodyPr vert="horz" wrap="square" lIns="4572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Paste the copied file path 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click ad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Arial"/>
              <a:cs typeface="Arial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6512C14E-9AEA-4D12-A35B-2FDE641B9CE4}"/>
              </a:ext>
            </a:extLst>
          </p:cNvPr>
          <p:cNvSpPr/>
          <p:nvPr/>
        </p:nvSpPr>
        <p:spPr>
          <a:xfrm>
            <a:off x="359511" y="2107049"/>
            <a:ext cx="2628000" cy="4368231"/>
          </a:xfrm>
          <a:custGeom>
            <a:avLst/>
            <a:gdLst>
              <a:gd name="connsiteX0" fmla="*/ 0 w 2035629"/>
              <a:gd name="connsiteY0" fmla="*/ 0 h 4169228"/>
              <a:gd name="connsiteX1" fmla="*/ 2035629 w 2035629"/>
              <a:gd name="connsiteY1" fmla="*/ 0 h 4169228"/>
              <a:gd name="connsiteX2" fmla="*/ 2035629 w 2035629"/>
              <a:gd name="connsiteY2" fmla="*/ 4169228 h 4169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629" h="4169228">
                <a:moveTo>
                  <a:pt x="0" y="0"/>
                </a:moveTo>
                <a:lnTo>
                  <a:pt x="2035629" y="0"/>
                </a:lnTo>
                <a:lnTo>
                  <a:pt x="2035629" y="416922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3FD598A-D7BE-496D-BAC7-AA1A19AFED59}"/>
              </a:ext>
            </a:extLst>
          </p:cNvPr>
          <p:cNvGrpSpPr/>
          <p:nvPr/>
        </p:nvGrpSpPr>
        <p:grpSpPr>
          <a:xfrm>
            <a:off x="359508" y="3388114"/>
            <a:ext cx="2515743" cy="1872000"/>
            <a:chOff x="511909" y="1647828"/>
            <a:chExt cx="2925354" cy="1679266"/>
          </a:xfrm>
        </p:grpSpPr>
        <p:pic>
          <p:nvPicPr>
            <p:cNvPr id="29" name="Picture 28" descr="Graphical user interface, text, application, email&#10;&#10;Description automatically generated">
              <a:extLst>
                <a:ext uri="{FF2B5EF4-FFF2-40B4-BE49-F238E27FC236}">
                  <a16:creationId xmlns:a16="http://schemas.microsoft.com/office/drawing/2014/main" id="{997B5145-81E0-4519-841B-8FA6FAD69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1909" y="1647828"/>
              <a:ext cx="2925354" cy="167926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2C2D766-5C11-431F-855A-A58E3579E3D3}"/>
                </a:ext>
              </a:extLst>
            </p:cNvPr>
            <p:cNvSpPr/>
            <p:nvPr/>
          </p:nvSpPr>
          <p:spPr>
            <a:xfrm>
              <a:off x="2754217" y="3084723"/>
              <a:ext cx="540000" cy="165253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TN Brighter Sans Light"/>
                  <a:ea typeface="+mn-ea"/>
                  <a:cs typeface="+mn-cs"/>
                </a:rPr>
                <a:t>Add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E2D3C71-9622-43CA-8B2F-5CC2571EE7E3}"/>
                </a:ext>
              </a:extLst>
            </p:cNvPr>
            <p:cNvSpPr/>
            <p:nvPr/>
          </p:nvSpPr>
          <p:spPr>
            <a:xfrm>
              <a:off x="1991457" y="3084721"/>
              <a:ext cx="652766" cy="1652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MTN Brighter Sans Light"/>
                  <a:ea typeface="+mn-ea"/>
                  <a:cs typeface="+mn-cs"/>
                </a:rPr>
                <a:t>Cancel</a:t>
              </a:r>
            </a:p>
          </p:txBody>
        </p:sp>
      </p:grpSp>
      <p:pic>
        <p:nvPicPr>
          <p:cNvPr id="36" name="Picture 35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8870B511-1C46-4A9D-9BBA-D5A954643E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9012" y="3388114"/>
            <a:ext cx="2503670" cy="1872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BC1C130-FFED-4806-94FC-AA261444CEFC}"/>
              </a:ext>
            </a:extLst>
          </p:cNvPr>
          <p:cNvSpPr/>
          <p:nvPr/>
        </p:nvSpPr>
        <p:spPr>
          <a:xfrm>
            <a:off x="2287846" y="4982266"/>
            <a:ext cx="464389" cy="18422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C667429-3B6C-40A7-8793-DD3E951DB0F4}"/>
              </a:ext>
            </a:extLst>
          </p:cNvPr>
          <p:cNvSpPr/>
          <p:nvPr/>
        </p:nvSpPr>
        <p:spPr>
          <a:xfrm>
            <a:off x="5395881" y="4960451"/>
            <a:ext cx="561860" cy="24548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ACCF31-4D58-49EC-AC2A-1D9C83D4408B}"/>
              </a:ext>
            </a:extLst>
          </p:cNvPr>
          <p:cNvSpPr/>
          <p:nvPr/>
        </p:nvSpPr>
        <p:spPr bwMode="gray">
          <a:xfrm>
            <a:off x="6725743" y="1568118"/>
            <a:ext cx="2809214" cy="50220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4450" rIns="0" bIns="44450"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UILD EDA DASHBOAR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38AB544-9CBD-4A74-A2B5-4C2AD7E39821}"/>
              </a:ext>
            </a:extLst>
          </p:cNvPr>
          <p:cNvSpPr/>
          <p:nvPr/>
        </p:nvSpPr>
        <p:spPr bwMode="gray">
          <a:xfrm>
            <a:off x="6416760" y="1652933"/>
            <a:ext cx="308983" cy="33258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Next Pro Light" panose="020B0303040204020203" pitchFamily="34" charset="0"/>
                <a:ea typeface="+mn-ea"/>
                <a:cs typeface="+mn-cs"/>
              </a:rPr>
              <a:t>9</a:t>
            </a:r>
          </a:p>
        </p:txBody>
      </p:sp>
      <p:sp>
        <p:nvSpPr>
          <p:cNvPr id="39" name="object 4">
            <a:extLst>
              <a:ext uri="{FF2B5EF4-FFF2-40B4-BE49-F238E27FC236}">
                <a16:creationId xmlns:a16="http://schemas.microsoft.com/office/drawing/2014/main" id="{6391BC37-173F-47A0-AF08-BF256E11928F}"/>
              </a:ext>
            </a:extLst>
          </p:cNvPr>
          <p:cNvSpPr txBox="1">
            <a:spLocks/>
          </p:cNvSpPr>
          <p:nvPr/>
        </p:nvSpPr>
        <p:spPr>
          <a:xfrm>
            <a:off x="6416759" y="4996341"/>
            <a:ext cx="3241762" cy="1333698"/>
          </a:xfrm>
          <a:prstGeom prst="rect">
            <a:avLst/>
          </a:prstGeom>
        </p:spPr>
        <p:txBody>
          <a:bodyPr vert="horz" wrap="square" lIns="4572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Identify variables and data typ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Analyse basic metric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Perform graphical analys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Transform variabl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Arial"/>
                <a:cs typeface="Arial"/>
              </a:rPr>
              <a:t>Spot outliers</a:t>
            </a:r>
          </a:p>
        </p:txBody>
      </p:sp>
      <p:sp>
        <p:nvSpPr>
          <p:cNvPr id="40" name="Freeform 31">
            <a:extLst>
              <a:ext uri="{FF2B5EF4-FFF2-40B4-BE49-F238E27FC236}">
                <a16:creationId xmlns:a16="http://schemas.microsoft.com/office/drawing/2014/main" id="{D6A94E01-FC3A-4365-8C2B-87F485BE783C}"/>
              </a:ext>
            </a:extLst>
          </p:cNvPr>
          <p:cNvSpPr/>
          <p:nvPr/>
        </p:nvSpPr>
        <p:spPr>
          <a:xfrm>
            <a:off x="6416759" y="2103108"/>
            <a:ext cx="5622841" cy="4372173"/>
          </a:xfrm>
          <a:custGeom>
            <a:avLst/>
            <a:gdLst>
              <a:gd name="connsiteX0" fmla="*/ 0 w 2035629"/>
              <a:gd name="connsiteY0" fmla="*/ 0 h 4169228"/>
              <a:gd name="connsiteX1" fmla="*/ 2035629 w 2035629"/>
              <a:gd name="connsiteY1" fmla="*/ 0 h 4169228"/>
              <a:gd name="connsiteX2" fmla="*/ 2035629 w 2035629"/>
              <a:gd name="connsiteY2" fmla="*/ 4169228 h 4169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35629" h="4169228">
                <a:moveTo>
                  <a:pt x="0" y="0"/>
                </a:moveTo>
                <a:lnTo>
                  <a:pt x="2035629" y="0"/>
                </a:lnTo>
                <a:lnTo>
                  <a:pt x="2035629" y="4169228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8A483C-69AF-4C0A-B708-800E463D155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16758" y="2252288"/>
            <a:ext cx="3005171" cy="119203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FE318A9-B39C-4066-A9ED-F468C01B065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54746" y="2465874"/>
            <a:ext cx="3005171" cy="120538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79DA939-7611-43E4-8D64-CAC039880DD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16758" y="3489613"/>
            <a:ext cx="3005171" cy="123449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E098B4E-9790-4CDF-B526-5C44CA08795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34430" y="3725960"/>
            <a:ext cx="2896838" cy="123449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61667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APsXEmS6KmC1wlHSkH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itles">
  <a:themeElements>
    <a:clrScheme name="MTN">
      <a:dk1>
        <a:sysClr val="windowText" lastClr="000000"/>
      </a:dk1>
      <a:lt1>
        <a:srgbClr val="FFFFFF"/>
      </a:lt1>
      <a:dk2>
        <a:srgbClr val="323232"/>
      </a:dk2>
      <a:lt2>
        <a:srgbClr val="FFFFFF"/>
      </a:lt2>
      <a:accent1>
        <a:srgbClr val="FFCB05"/>
      </a:accent1>
      <a:accent2>
        <a:srgbClr val="F5821E"/>
      </a:accent2>
      <a:accent3>
        <a:srgbClr val="E12D6E"/>
      </a:accent3>
      <a:accent4>
        <a:srgbClr val="5A1E5A"/>
      </a:accent4>
      <a:accent5>
        <a:srgbClr val="0F6987"/>
      </a:accent5>
      <a:accent6>
        <a:srgbClr val="0FAF4B"/>
      </a:accent6>
      <a:hlink>
        <a:srgbClr val="323232"/>
      </a:hlink>
      <a:folHlink>
        <a:srgbClr val="7F7F7F"/>
      </a:folHlink>
    </a:clrScheme>
    <a:fontScheme name="MTN Custom">
      <a:majorFont>
        <a:latin typeface="MTN Brighter Sans Bold"/>
        <a:ea typeface=""/>
        <a:cs typeface=""/>
      </a:majorFont>
      <a:minorFont>
        <a:latin typeface="MTN Brighter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_PPT Template_20171219.potx" id="{E26B7FF7-5368-4540-9A30-626267CBC85F}" vid="{CC676F21-11D3-49AA-8177-81646B6E136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88</TotalTime>
  <Words>215</Words>
  <Application>Microsoft Office PowerPoint</Application>
  <PresentationFormat>Widescreen</PresentationFormat>
  <Paragraphs>44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Calibri</vt:lpstr>
      <vt:lpstr>Century Gothic</vt:lpstr>
      <vt:lpstr>Frutiger Next Pro Light</vt:lpstr>
      <vt:lpstr>MTN Brighter Sans Bold</vt:lpstr>
      <vt:lpstr>MTN Brighter Sans Light</vt:lpstr>
      <vt:lpstr>Open Sans</vt:lpstr>
      <vt:lpstr>Wingdings 2</vt:lpstr>
      <vt:lpstr>1_Titles</vt:lpstr>
      <vt:lpstr>think-cell Slide</vt:lpstr>
      <vt:lpstr>Working with data studio</vt:lpstr>
      <vt:lpstr>PowerPoint Presentation</vt:lpstr>
      <vt:lpstr>PowerPoint Presentation</vt:lpstr>
      <vt:lpstr>MTN ADAM – DATA DISCOVERY &amp; REMEDI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ing with data studio</dc:title>
  <dc:creator>Mathebula, Basetsana</dc:creator>
  <cp:lastModifiedBy>Fapohunda, Oluwadamilola</cp:lastModifiedBy>
  <cp:revision>1</cp:revision>
  <dcterms:created xsi:type="dcterms:W3CDTF">2022-07-22T14:42:00Z</dcterms:created>
  <dcterms:modified xsi:type="dcterms:W3CDTF">2022-08-01T14:5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7-22T14:42:0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92be8ca-187c-47c9-8b6b-e4f17d31821f</vt:lpwstr>
  </property>
  <property fmtid="{D5CDD505-2E9C-101B-9397-08002B2CF9AE}" pid="8" name="MSIP_Label_ea60d57e-af5b-4752-ac57-3e4f28ca11dc_ContentBits">
    <vt:lpwstr>0</vt:lpwstr>
  </property>
</Properties>
</file>